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notesMasterIdLst>
    <p:notesMasterId r:id="rId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F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112" y="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C86055-D2F1-46C3-83FD-A327EBDDB0A8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A8E6FF-8BA3-4ECB-B874-AFF413E160B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0016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A75EF3-6398-445D-BD41-1F42EA8214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5A327F2-751D-4A60-833D-B8B5F6DA74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F2DBAD-3163-4089-B53A-24ECDA98B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68C0-E631-4FA5-B66C-A6893089A72C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F808CF-84B5-47CD-BA53-8A06ADE9B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7D59BA-9D32-435A-96CC-2BD6F052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9308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3CB110-0F06-4C01-A968-275BA811D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081BDAC-6509-4162-B5B5-12AC6458F8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CE3113-2ADB-4D7E-94AE-FCAB536AF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DFED5-F5BC-4C21-B00D-107757BCB1D5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74E0AA7-92CE-4469-A0DB-E76F5B7E9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56B409-1F57-4819-8647-7CC73D643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3672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B867D073-AFB1-446D-8EC3-DABA77439C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5E66FAC-19F8-4688-A82B-C6A0D4230A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BC17D4-CA1C-45E6-BDC5-49722229C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5D80D4-FC22-469B-B760-6A7940AA3138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3BDE70-9E77-4DD6-A8E4-4F3CC70C3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655056-7755-4D11-9372-394A40ABAD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19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B9A3C8-19FE-435C-94C1-B08040EC9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6367B2-0D53-4D35-9087-71FB8409D5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D2575B-3F73-4B05-8C8C-29BD93AC4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EB0D-30DD-4E89-8B0D-65B7028FC562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13429A-567F-4D20-911A-C327445BB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D965319-F4DB-4AC1-9C3B-8C4332474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193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E9BDC8-5B27-4206-A49B-5C3A9D66E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E88DBC7-8D0A-4F85-92B0-A193512B9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6718CB3-6488-45EE-98A4-04D627CA9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EBF28-F29F-47B0-8445-64F25E1B2731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A4466DA-04D4-42DC-BD4C-BDD8DE422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4B96F4-8DC3-4A35-99E9-16D51B3A2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8993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F8B7A-A575-42BD-A62B-94BB0429B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4FAA9B-26A3-43CB-8D3F-9B2A5807F8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4E7E5F9-F49C-4DAE-A940-4CCCCF78D2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5A19090-FB86-441B-9F65-7F8DED070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B8FCB-2F3D-4195-89D6-401F7605A609}" type="datetime1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8D20288-1321-4F60-B2DE-626ABC261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DF0D09-96F0-49CE-AD50-1B65EAD13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1481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16C527-CD4D-4771-94D9-208F491DB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A577F3-B96F-4FE9-A5DA-8B3F3C6A76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921D953-19E8-4779-AE83-D07444874A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BD37294-36E9-4047-8EAA-D1BA91ACA4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7AD081A-1A1B-4BB5-B139-8733FA53E7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F0E730C-6AA2-41F6-B6CD-7096F54EB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14B83-3C3F-4E43-9685-CE4AC483A9CE}" type="datetime1">
              <a:rPr lang="de-DE" smtClean="0"/>
              <a:t>07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8CAB903-CA97-4284-9AD4-169035DA9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9029C6-C574-49D2-A6F4-11332F566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41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B8D39B-5FE0-4230-A060-957221B4D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CD86782-E7ED-4000-9250-1D25B2332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175DA-8D38-4A58-A54F-1168D09756FD}" type="datetime1">
              <a:rPr lang="de-DE" smtClean="0"/>
              <a:t>07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B17A13-7E7C-4711-83B0-F98D0F9A9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DD00A5-4B10-4588-BE52-57B7B1123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3143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11AEBE0-E366-41C9-B00B-07A48A4A2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AF57F-AE76-4C94-AABC-F8C3359A6250}" type="datetime1">
              <a:rPr lang="de-DE" smtClean="0"/>
              <a:t>07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3A3F7F-D3E8-428D-B0E5-349312161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F89A13-ADAE-4007-9DBB-387702114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5109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DAAB89-DC0F-44FA-8C9E-825BD22B1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7EC294-F9F2-4382-8C5C-EBE2C563D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CD30F31-6297-4202-BAA1-AACB0F2AD4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E98883-9744-4A8D-8397-1359B75F7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2B541-E7EC-488F-97C5-20BBF6BE4B06}" type="datetime1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351530-100B-4510-B32A-D945278CC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7E3441-1001-42E3-8150-AD59B316A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042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8B9C20-E09F-4493-AAD0-C5158AC05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40DA842-AD30-4004-96A6-569CDCB50C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522BF88-C033-45B8-AD82-B98DD4BB1D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D2CF617-A55C-41C2-A9D9-4898E08FA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6A342-1575-4CB6-868D-A21133827D71}" type="datetime1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1D18011-ECA1-41DC-9E32-9D03FCC8A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305CB8-6A90-48C1-85DE-083564E6B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4383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564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" name="think-cell Folie" r:id="rId16" imgW="526" imgH="526" progId="TCLayout.ActiveDocument.1">
                  <p:embed/>
                </p:oleObj>
              </mc:Choice>
              <mc:Fallback>
                <p:oleObj name="think-cell Folie" r:id="rId1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A761448-5960-4456-BC34-1E096CC52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63C0FD-B7F8-44EA-87A2-71E0C6CFAC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F1DA2D-CED1-45C6-A86C-09ECD35DAB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97B76-F97A-42BE-B66C-1432418DB8F2}" type="datetime1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154FAE-2AB4-4F88-8C0B-7C4DBC625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D3F9A6-CC12-462F-A973-AE553357A3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18B0DD-921F-4660-AF56-C53E8C459D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7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560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3769830" y="1825625"/>
            <a:ext cx="3498823" cy="43513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rtlCol="0" anchor="t"/>
          <a:lstStyle/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tx1">
                    <a:lumMod val="100000"/>
                  </a:schemeClr>
                </a:solidFill>
              </a:rPr>
              <a:t>Complic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tuation-Complication-Solution</a:t>
            </a:r>
            <a:endParaRPr lang="en-US" dirty="0"/>
          </a:p>
        </p:txBody>
      </p:sp>
      <p:sp>
        <p:nvSpPr>
          <p:cNvPr id="6" name="Richtungspfeil 5"/>
          <p:cNvSpPr/>
          <p:nvPr/>
        </p:nvSpPr>
        <p:spPr>
          <a:xfrm>
            <a:off x="838200" y="1825625"/>
            <a:ext cx="3169853" cy="4351338"/>
          </a:xfrm>
          <a:prstGeom prst="homePlate">
            <a:avLst>
              <a:gd name="adj" fmla="val 22335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tx1">
                    <a:lumMod val="100000"/>
                  </a:schemeClr>
                </a:solidFill>
              </a:rPr>
              <a:t>Situ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544808" y="1825625"/>
            <a:ext cx="3808994" cy="43513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bg1"/>
                </a:solidFill>
              </a:rPr>
              <a:t>Solu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bg1"/>
                </a:solidFill>
              </a:rPr>
              <a:t>abc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845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154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rows/Chevrons with text</a:t>
            </a:r>
            <a:endParaRPr lang="en-US" dirty="0"/>
          </a:p>
        </p:txBody>
      </p:sp>
      <p:sp>
        <p:nvSpPr>
          <p:cNvPr id="6" name="Richtungspfeil 5"/>
          <p:cNvSpPr/>
          <p:nvPr/>
        </p:nvSpPr>
        <p:spPr>
          <a:xfrm>
            <a:off x="838200" y="1825625"/>
            <a:ext cx="2973703" cy="977998"/>
          </a:xfrm>
          <a:prstGeom prst="homePlate">
            <a:avLst>
              <a:gd name="adj" fmla="val 1776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600" b="1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923461" y="1825625"/>
            <a:ext cx="7430339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Richtungspfeil 8"/>
          <p:cNvSpPr/>
          <p:nvPr/>
        </p:nvSpPr>
        <p:spPr>
          <a:xfrm>
            <a:off x="838200" y="2938560"/>
            <a:ext cx="2973703" cy="977998"/>
          </a:xfrm>
          <a:prstGeom prst="homePlate">
            <a:avLst>
              <a:gd name="adj" fmla="val 1776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600" b="1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923461" y="2938560"/>
            <a:ext cx="7430339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Richtungspfeil 10"/>
          <p:cNvSpPr/>
          <p:nvPr/>
        </p:nvSpPr>
        <p:spPr>
          <a:xfrm>
            <a:off x="838200" y="4051495"/>
            <a:ext cx="2973703" cy="977998"/>
          </a:xfrm>
          <a:prstGeom prst="homePlate">
            <a:avLst>
              <a:gd name="adj" fmla="val 1776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600" b="1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b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923461" y="4051495"/>
            <a:ext cx="7430339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3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02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13" name="Richtungspfeil 12"/>
          <p:cNvSpPr/>
          <p:nvPr/>
        </p:nvSpPr>
        <p:spPr>
          <a:xfrm flipH="1">
            <a:off x="1591473" y="2286860"/>
            <a:ext cx="1490432" cy="3525823"/>
          </a:xfrm>
          <a:prstGeom prst="homePlate">
            <a:avLst>
              <a:gd name="adj" fmla="val 369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main goals boxe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2356830" y="2421797"/>
            <a:ext cx="8996970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356830" y="3534732"/>
            <a:ext cx="8996970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356830" y="4647667"/>
            <a:ext cx="8996970" cy="9779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chemeClr val="tx1">
                    <a:lumMod val="100000"/>
                  </a:schemeClr>
                </a:solidFill>
              </a:rPr>
              <a:t>abc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" name="Ellipse 1"/>
          <p:cNvSpPr/>
          <p:nvPr/>
        </p:nvSpPr>
        <p:spPr>
          <a:xfrm>
            <a:off x="838200" y="3457627"/>
            <a:ext cx="1184289" cy="11842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/>
              <a:t>Goal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2383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0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with 5 steps</a:t>
            </a:r>
            <a:endParaRPr lang="en-US" dirty="0"/>
          </a:p>
        </p:txBody>
      </p:sp>
      <p:sp>
        <p:nvSpPr>
          <p:cNvPr id="3" name="Richtungspfeil 2"/>
          <p:cNvSpPr/>
          <p:nvPr/>
        </p:nvSpPr>
        <p:spPr>
          <a:xfrm>
            <a:off x="838200" y="1690688"/>
            <a:ext cx="2045520" cy="624370"/>
          </a:xfrm>
          <a:prstGeom prst="homePlate">
            <a:avLst>
              <a:gd name="adj" fmla="val 172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Step 1</a:t>
            </a:r>
            <a:endParaRPr lang="en-US" sz="1600" b="1" dirty="0"/>
          </a:p>
        </p:txBody>
      </p:sp>
      <p:sp>
        <p:nvSpPr>
          <p:cNvPr id="4" name="Chevron 3"/>
          <p:cNvSpPr/>
          <p:nvPr/>
        </p:nvSpPr>
        <p:spPr>
          <a:xfrm>
            <a:off x="2955720" y="1690688"/>
            <a:ext cx="2045520" cy="624370"/>
          </a:xfrm>
          <a:prstGeom prst="chevron">
            <a:avLst>
              <a:gd name="adj" fmla="val 172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ep </a:t>
            </a:r>
            <a:r>
              <a:rPr lang="en-US" sz="1600" b="1" dirty="0" smtClean="0"/>
              <a:t>2</a:t>
            </a:r>
            <a:endParaRPr lang="en-US" sz="1600" b="1" dirty="0"/>
          </a:p>
        </p:txBody>
      </p:sp>
      <p:sp>
        <p:nvSpPr>
          <p:cNvPr id="5" name="Chevron 4"/>
          <p:cNvSpPr/>
          <p:nvPr/>
        </p:nvSpPr>
        <p:spPr>
          <a:xfrm>
            <a:off x="5073240" y="1690688"/>
            <a:ext cx="2045520" cy="624370"/>
          </a:xfrm>
          <a:prstGeom prst="chevron">
            <a:avLst>
              <a:gd name="adj" fmla="val 172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ep </a:t>
            </a:r>
            <a:r>
              <a:rPr lang="en-US" sz="1600" b="1" dirty="0" smtClean="0"/>
              <a:t>3</a:t>
            </a:r>
            <a:endParaRPr lang="en-US" sz="1600" b="1" dirty="0"/>
          </a:p>
        </p:txBody>
      </p:sp>
      <p:sp>
        <p:nvSpPr>
          <p:cNvPr id="6" name="Chevron 5"/>
          <p:cNvSpPr/>
          <p:nvPr/>
        </p:nvSpPr>
        <p:spPr>
          <a:xfrm>
            <a:off x="7190760" y="1690688"/>
            <a:ext cx="2045520" cy="624370"/>
          </a:xfrm>
          <a:prstGeom prst="chevron">
            <a:avLst>
              <a:gd name="adj" fmla="val 172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ep </a:t>
            </a:r>
            <a:r>
              <a:rPr lang="en-US" sz="1600" b="1" dirty="0" smtClean="0"/>
              <a:t>4</a:t>
            </a:r>
            <a:endParaRPr lang="en-US" sz="1600" b="1" dirty="0"/>
          </a:p>
        </p:txBody>
      </p:sp>
      <p:sp>
        <p:nvSpPr>
          <p:cNvPr id="9" name="Chevron 8"/>
          <p:cNvSpPr/>
          <p:nvPr/>
        </p:nvSpPr>
        <p:spPr>
          <a:xfrm>
            <a:off x="9308280" y="1690688"/>
            <a:ext cx="2045520" cy="624370"/>
          </a:xfrm>
          <a:prstGeom prst="chevron">
            <a:avLst>
              <a:gd name="adj" fmla="val 172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ep </a:t>
            </a:r>
            <a:r>
              <a:rPr lang="en-US" sz="1600" b="1" dirty="0" smtClean="0"/>
              <a:t>5</a:t>
            </a:r>
            <a:endParaRPr lang="en-US" sz="1600" b="1" dirty="0"/>
          </a:p>
        </p:txBody>
      </p:sp>
      <p:sp>
        <p:nvSpPr>
          <p:cNvPr id="10" name="Rechteck 9"/>
          <p:cNvSpPr/>
          <p:nvPr/>
        </p:nvSpPr>
        <p:spPr>
          <a:xfrm>
            <a:off x="838200" y="2391881"/>
            <a:ext cx="1949310" cy="232110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955720" y="2391881"/>
            <a:ext cx="1949310" cy="232110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73240" y="2391881"/>
            <a:ext cx="1949310" cy="232110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190760" y="2391881"/>
            <a:ext cx="1949310" cy="232110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308280" y="2391881"/>
            <a:ext cx="1949310" cy="232110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091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228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 full page box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838200" y="1819590"/>
            <a:ext cx="5149800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itle 1</a:t>
            </a:r>
            <a:endParaRPr lang="en-US" sz="1600" b="1" dirty="0"/>
          </a:p>
        </p:txBody>
      </p:sp>
      <p:sp>
        <p:nvSpPr>
          <p:cNvPr id="4" name="Rechteck 3"/>
          <p:cNvSpPr/>
          <p:nvPr/>
        </p:nvSpPr>
        <p:spPr>
          <a:xfrm>
            <a:off x="6204000" y="1819590"/>
            <a:ext cx="5149800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itle 2</a:t>
            </a:r>
            <a:endParaRPr lang="en-US" sz="1600" b="1" dirty="0"/>
          </a:p>
        </p:txBody>
      </p:sp>
      <p:sp>
        <p:nvSpPr>
          <p:cNvPr id="5" name="Rechteck 4"/>
          <p:cNvSpPr/>
          <p:nvPr/>
        </p:nvSpPr>
        <p:spPr>
          <a:xfrm>
            <a:off x="838200" y="2520782"/>
            <a:ext cx="5149800" cy="383570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204000" y="2520782"/>
            <a:ext cx="5149800" cy="383570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081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228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5" imgW="526" imgH="526" progId="TCLayout.ActiveDocument.1">
                  <p:embed/>
                </p:oleObj>
              </mc:Choice>
              <mc:Fallback>
                <p:oleObj name="think-cell Folie" r:id="rId5" imgW="526" imgH="52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onsolas" panose="020B0609020204030204" pitchFamily="49" charset="0"/>
              <a:ea typeface="+mj-ea"/>
              <a:cs typeface="+mj-cs"/>
              <a:sym typeface="Consolas" panose="020B0609020204030204" pitchFamily="49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dirty="0" smtClean="0"/>
              <a:t> full page box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838200" y="1819590"/>
            <a:ext cx="336120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itle 1</a:t>
            </a:r>
            <a:endParaRPr lang="en-US" sz="1600" b="1" dirty="0"/>
          </a:p>
        </p:txBody>
      </p:sp>
      <p:sp>
        <p:nvSpPr>
          <p:cNvPr id="4" name="Rechteck 3"/>
          <p:cNvSpPr/>
          <p:nvPr/>
        </p:nvSpPr>
        <p:spPr>
          <a:xfrm>
            <a:off x="4415401" y="1819590"/>
            <a:ext cx="336120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itle 2</a:t>
            </a:r>
            <a:endParaRPr lang="en-US" sz="1600" b="1" dirty="0"/>
          </a:p>
        </p:txBody>
      </p:sp>
      <p:sp>
        <p:nvSpPr>
          <p:cNvPr id="5" name="Rechteck 4"/>
          <p:cNvSpPr/>
          <p:nvPr/>
        </p:nvSpPr>
        <p:spPr>
          <a:xfrm>
            <a:off x="838200" y="2520782"/>
            <a:ext cx="3361201" cy="383570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415401" y="2520782"/>
            <a:ext cx="3361201" cy="383570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992602" y="1819590"/>
            <a:ext cx="336120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itle 3</a:t>
            </a:r>
            <a:endParaRPr lang="en-US" sz="1600" b="1" dirty="0"/>
          </a:p>
        </p:txBody>
      </p:sp>
      <p:sp>
        <p:nvSpPr>
          <p:cNvPr id="11" name="Rechteck 10"/>
          <p:cNvSpPr/>
          <p:nvPr/>
        </p:nvSpPr>
        <p:spPr>
          <a:xfrm>
            <a:off x="7992602" y="2520782"/>
            <a:ext cx="3361201" cy="383570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</a:rPr>
              <a:t>Text</a:t>
            </a: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550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839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pe-T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191677" y="1819590"/>
            <a:ext cx="286204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olumn 1</a:t>
            </a:r>
            <a:endParaRPr lang="en-US" sz="1600" b="1" dirty="0"/>
          </a:p>
        </p:txBody>
      </p:sp>
      <p:sp>
        <p:nvSpPr>
          <p:cNvPr id="4" name="Rechteck 3"/>
          <p:cNvSpPr/>
          <p:nvPr/>
        </p:nvSpPr>
        <p:spPr>
          <a:xfrm>
            <a:off x="5341718" y="1819590"/>
            <a:ext cx="286204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lumn</a:t>
            </a:r>
            <a:r>
              <a:rPr lang="en-US" sz="1600" b="1" dirty="0" smtClean="0"/>
              <a:t> 2</a:t>
            </a:r>
            <a:endParaRPr lang="en-US" sz="1600" b="1" dirty="0"/>
          </a:p>
        </p:txBody>
      </p:sp>
      <p:sp>
        <p:nvSpPr>
          <p:cNvPr id="5" name="Rechteck 4"/>
          <p:cNvSpPr/>
          <p:nvPr/>
        </p:nvSpPr>
        <p:spPr>
          <a:xfrm>
            <a:off x="2191677" y="2443960"/>
            <a:ext cx="2862041" cy="3912529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341718" y="2443960"/>
            <a:ext cx="2862041" cy="3912529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491759" y="1819590"/>
            <a:ext cx="2862041" cy="624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lumn</a:t>
            </a:r>
            <a:r>
              <a:rPr lang="en-US" sz="1600" b="1" dirty="0" smtClean="0"/>
              <a:t> 3</a:t>
            </a:r>
            <a:endParaRPr lang="en-US" sz="1600" b="1" dirty="0"/>
          </a:p>
        </p:txBody>
      </p:sp>
      <p:sp>
        <p:nvSpPr>
          <p:cNvPr id="8" name="Rechteck 7"/>
          <p:cNvSpPr/>
          <p:nvPr/>
        </p:nvSpPr>
        <p:spPr>
          <a:xfrm>
            <a:off x="8491759" y="2443960"/>
            <a:ext cx="2862041" cy="3912529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38201" y="2705792"/>
            <a:ext cx="1123530" cy="10404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Row 1</a:t>
            </a:r>
            <a:endParaRPr lang="en-US" sz="1600" b="1" dirty="0"/>
          </a:p>
        </p:txBody>
      </p:sp>
      <p:sp>
        <p:nvSpPr>
          <p:cNvPr id="11" name="Rechteck 10"/>
          <p:cNvSpPr/>
          <p:nvPr/>
        </p:nvSpPr>
        <p:spPr>
          <a:xfrm>
            <a:off x="838201" y="3962219"/>
            <a:ext cx="1123530" cy="10404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Row 1</a:t>
            </a:r>
            <a:endParaRPr lang="en-US" sz="1600" b="1" dirty="0"/>
          </a:p>
        </p:txBody>
      </p:sp>
      <p:sp>
        <p:nvSpPr>
          <p:cNvPr id="12" name="Rechteck 11"/>
          <p:cNvSpPr/>
          <p:nvPr/>
        </p:nvSpPr>
        <p:spPr>
          <a:xfrm>
            <a:off x="838201" y="5218646"/>
            <a:ext cx="1123530" cy="10404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Row 1</a:t>
            </a:r>
            <a:endParaRPr lang="en-US" sz="1600" b="1" dirty="0"/>
          </a:p>
        </p:txBody>
      </p:sp>
      <p:sp>
        <p:nvSpPr>
          <p:cNvPr id="13" name="Rechteck 12"/>
          <p:cNvSpPr/>
          <p:nvPr/>
        </p:nvSpPr>
        <p:spPr>
          <a:xfrm>
            <a:off x="1961730" y="2705792"/>
            <a:ext cx="9514593" cy="1040427"/>
          </a:xfrm>
          <a:prstGeom prst="rect">
            <a:avLst/>
          </a:prstGeom>
          <a:solidFill>
            <a:schemeClr val="bg1">
              <a:lumMod val="10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961730" y="3962219"/>
            <a:ext cx="9514593" cy="1040427"/>
          </a:xfrm>
          <a:prstGeom prst="rect">
            <a:avLst/>
          </a:prstGeom>
          <a:solidFill>
            <a:schemeClr val="bg1">
              <a:lumMod val="10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961730" y="5218646"/>
            <a:ext cx="9514593" cy="1040427"/>
          </a:xfrm>
          <a:prstGeom prst="rect">
            <a:avLst/>
          </a:prstGeom>
          <a:solidFill>
            <a:schemeClr val="bg1">
              <a:lumMod val="10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191676" y="2705791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17" name="Textfeld 16"/>
          <p:cNvSpPr txBox="1"/>
          <p:nvPr/>
        </p:nvSpPr>
        <p:spPr>
          <a:xfrm>
            <a:off x="5341717" y="2705791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0" name="Textfeld 19"/>
          <p:cNvSpPr txBox="1"/>
          <p:nvPr/>
        </p:nvSpPr>
        <p:spPr>
          <a:xfrm>
            <a:off x="8491758" y="2705791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1" name="Textfeld 20"/>
          <p:cNvSpPr txBox="1"/>
          <p:nvPr/>
        </p:nvSpPr>
        <p:spPr>
          <a:xfrm>
            <a:off x="2191676" y="3962218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2" name="Textfeld 21"/>
          <p:cNvSpPr txBox="1"/>
          <p:nvPr/>
        </p:nvSpPr>
        <p:spPr>
          <a:xfrm>
            <a:off x="5341717" y="3962218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3" name="Textfeld 22"/>
          <p:cNvSpPr txBox="1"/>
          <p:nvPr/>
        </p:nvSpPr>
        <p:spPr>
          <a:xfrm>
            <a:off x="8491758" y="3962218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4" name="Textfeld 23"/>
          <p:cNvSpPr txBox="1"/>
          <p:nvPr/>
        </p:nvSpPr>
        <p:spPr>
          <a:xfrm>
            <a:off x="2191676" y="5218645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5" name="Textfeld 24"/>
          <p:cNvSpPr txBox="1"/>
          <p:nvPr/>
        </p:nvSpPr>
        <p:spPr>
          <a:xfrm>
            <a:off x="5341717" y="5218645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  <p:sp>
        <p:nvSpPr>
          <p:cNvPr id="26" name="Textfeld 25"/>
          <p:cNvSpPr txBox="1"/>
          <p:nvPr/>
        </p:nvSpPr>
        <p:spPr>
          <a:xfrm>
            <a:off x="8491758" y="5218645"/>
            <a:ext cx="2862042" cy="10404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abc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22717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5FwttXx_P.LBZYTb.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0nn5O75i5Qii9790NP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0nn5O75i5Qii9790NP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sq8uy_zlSHSNSiK_9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RJIdBxu8pLRVC6wALX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ro3..hX1AGAmC_jb7r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hangelog.potx" id="{DF1DAFA0-04C0-4CB8-AFF7-B7C43A90C17F}" vid="{77635BAB-0E73-4E19-9CEC-CDFAB68C2A6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hangelog</Template>
  <TotalTime>0</TotalTime>
  <Words>88</Words>
  <Application>Microsoft Office PowerPoint</Application>
  <PresentationFormat>Breitbild</PresentationFormat>
  <Paragraphs>58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Calibri</vt:lpstr>
      <vt:lpstr>Consolas</vt:lpstr>
      <vt:lpstr>Verdana</vt:lpstr>
      <vt:lpstr>Office</vt:lpstr>
      <vt:lpstr>think-cell Folie</vt:lpstr>
      <vt:lpstr>Situation-Complication-Solution</vt:lpstr>
      <vt:lpstr>Arrows/Chevrons with text</vt:lpstr>
      <vt:lpstr>3 main goals boxes</vt:lpstr>
      <vt:lpstr>Process with 5 steps</vt:lpstr>
      <vt:lpstr>2 full page boxes</vt:lpstr>
      <vt:lpstr>3 full page boxes</vt:lpstr>
      <vt:lpstr>Shape-Tab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KT v2.7.1</dc:title>
  <dc:creator>Florian Stallmann</dc:creator>
  <cp:lastModifiedBy>Stallmann, Florian</cp:lastModifiedBy>
  <cp:revision>63</cp:revision>
  <dcterms:created xsi:type="dcterms:W3CDTF">2020-07-23T18:32:20Z</dcterms:created>
  <dcterms:modified xsi:type="dcterms:W3CDTF">2021-01-07T12:41:30Z</dcterms:modified>
</cp:coreProperties>
</file>